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256" r:id="rId5"/>
    <p:sldId id="2147375589" r:id="rId6"/>
    <p:sldId id="4848" r:id="rId7"/>
    <p:sldId id="2147375597" r:id="rId8"/>
    <p:sldId id="2147375615" r:id="rId9"/>
    <p:sldId id="2147375600" r:id="rId10"/>
    <p:sldId id="2147375601" r:id="rId11"/>
    <p:sldId id="2147375627" r:id="rId12"/>
    <p:sldId id="2147375618" r:id="rId13"/>
    <p:sldId id="2147375619" r:id="rId14"/>
    <p:sldId id="2147375602" r:id="rId15"/>
    <p:sldId id="2147375603" r:id="rId16"/>
    <p:sldId id="2147375604" r:id="rId17"/>
    <p:sldId id="2147375605" r:id="rId18"/>
    <p:sldId id="2147375626" r:id="rId19"/>
    <p:sldId id="2147375628" r:id="rId20"/>
    <p:sldId id="2147375606" r:id="rId21"/>
    <p:sldId id="2147375607" r:id="rId22"/>
    <p:sldId id="2147375608" r:id="rId23"/>
    <p:sldId id="2147375609" r:id="rId24"/>
    <p:sldId id="2147375623" r:id="rId25"/>
    <p:sldId id="2147375629" r:id="rId26"/>
    <p:sldId id="2147375610" r:id="rId27"/>
    <p:sldId id="2147375611" r:id="rId28"/>
    <p:sldId id="2147375612" r:id="rId29"/>
    <p:sldId id="2147375613" r:id="rId30"/>
    <p:sldId id="2147375614" r:id="rId31"/>
    <p:sldId id="1633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080E84-E73C-AD94-F448-E194FF184B7B}" v="610" dt="2024-09-18T09:59:07.818"/>
    <p1510:client id="{A820A966-2740-4EE8-8810-5777C568673B}" v="61" dt="2024-09-19T06:00:51.7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43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, Mahendra SBOBNG-PTIV/IB" userId="46236ead-755c-42fd-ab80-d5097f10a71e" providerId="ADAL" clId="{A820A966-2740-4EE8-8810-5777C568673B}"/>
    <pc:docChg chg="custSel modSld">
      <pc:chgData name="Kumar, Mahendra SBOBNG-PTIV/IB" userId="46236ead-755c-42fd-ab80-d5097f10a71e" providerId="ADAL" clId="{A820A966-2740-4EE8-8810-5777C568673B}" dt="2024-09-19T06:00:56.781" v="218" actId="113"/>
      <pc:docMkLst>
        <pc:docMk/>
      </pc:docMkLst>
      <pc:sldChg chg="modSp mod">
        <pc:chgData name="Kumar, Mahendra SBOBNG-PTIV/IB" userId="46236ead-755c-42fd-ab80-d5097f10a71e" providerId="ADAL" clId="{A820A966-2740-4EE8-8810-5777C568673B}" dt="2024-09-19T05:45:32.550" v="29" actId="20577"/>
        <pc:sldMkLst>
          <pc:docMk/>
          <pc:sldMk cId="3267775274" sldId="256"/>
        </pc:sldMkLst>
        <pc:spChg chg="mod">
          <ac:chgData name="Kumar, Mahendra SBOBNG-PTIV/IB" userId="46236ead-755c-42fd-ab80-d5097f10a71e" providerId="ADAL" clId="{A820A966-2740-4EE8-8810-5777C568673B}" dt="2024-09-19T05:45:28.981" v="27" actId="20577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Kumar, Mahendra SBOBNG-PTIV/IB" userId="46236ead-755c-42fd-ab80-d5097f10a71e" providerId="ADAL" clId="{A820A966-2740-4EE8-8810-5777C568673B}" dt="2024-09-19T05:45:32.550" v="2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addSp delSp modSp mod">
        <pc:chgData name="Kumar, Mahendra SBOBNG-PTIV/IB" userId="46236ead-755c-42fd-ab80-d5097f10a71e" providerId="ADAL" clId="{A820A966-2740-4EE8-8810-5777C568673B}" dt="2024-09-19T05:44:34.472" v="3"/>
        <pc:sldMkLst>
          <pc:docMk/>
          <pc:sldMk cId="867832184" sldId="2147375589"/>
        </pc:sldMkLst>
        <pc:spChg chg="mod">
          <ac:chgData name="Kumar, Mahendra SBOBNG-PTIV/IB" userId="46236ead-755c-42fd-ab80-d5097f10a71e" providerId="ADAL" clId="{A820A966-2740-4EE8-8810-5777C568673B}" dt="2024-09-19T05:44:19.115" v="1" actId="20577"/>
          <ac:spMkLst>
            <pc:docMk/>
            <pc:sldMk cId="867832184" sldId="2147375589"/>
            <ac:spMk id="10" creationId="{1119CB9E-042F-11E8-F683-654626D307B3}"/>
          </ac:spMkLst>
        </pc:spChg>
        <pc:picChg chg="add mod">
          <ac:chgData name="Kumar, Mahendra SBOBNG-PTIV/IB" userId="46236ead-755c-42fd-ab80-d5097f10a71e" providerId="ADAL" clId="{A820A966-2740-4EE8-8810-5777C568673B}" dt="2024-09-19T05:44:34.472" v="3"/>
          <ac:picMkLst>
            <pc:docMk/>
            <pc:sldMk cId="867832184" sldId="2147375589"/>
            <ac:picMk id="2" creationId="{7FF958D2-56A4-2F63-1629-0423ADE50F00}"/>
          </ac:picMkLst>
        </pc:picChg>
        <pc:picChg chg="del">
          <ac:chgData name="Kumar, Mahendra SBOBNG-PTIV/IB" userId="46236ead-755c-42fd-ab80-d5097f10a71e" providerId="ADAL" clId="{A820A966-2740-4EE8-8810-5777C568673B}" dt="2024-09-19T05:44:21.096" v="2" actId="478"/>
          <ac:picMkLst>
            <pc:docMk/>
            <pc:sldMk cId="867832184" sldId="2147375589"/>
            <ac:picMk id="7" creationId="{EB513076-4EE0-8FD9-3130-5842E9E2871C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46:28.691" v="34" actId="14100"/>
        <pc:sldMkLst>
          <pc:docMk/>
          <pc:sldMk cId="245881457" sldId="2147375597"/>
        </pc:sldMkLst>
        <pc:picChg chg="del">
          <ac:chgData name="Kumar, Mahendra SBOBNG-PTIV/IB" userId="46236ead-755c-42fd-ab80-d5097f10a71e" providerId="ADAL" clId="{A820A966-2740-4EE8-8810-5777C568673B}" dt="2024-09-19T05:46:13.134" v="30" actId="478"/>
          <ac:picMkLst>
            <pc:docMk/>
            <pc:sldMk cId="245881457" sldId="2147375597"/>
            <ac:picMk id="2" creationId="{9EE1915B-B050-FF90-607E-003BE7FAAB3A}"/>
          </ac:picMkLst>
        </pc:picChg>
        <pc:picChg chg="add mod">
          <ac:chgData name="Kumar, Mahendra SBOBNG-PTIV/IB" userId="46236ead-755c-42fd-ab80-d5097f10a71e" providerId="ADAL" clId="{A820A966-2740-4EE8-8810-5777C568673B}" dt="2024-09-19T05:46:28.691" v="34" actId="14100"/>
          <ac:picMkLst>
            <pc:docMk/>
            <pc:sldMk cId="245881457" sldId="2147375597"/>
            <ac:picMk id="1026" creationId="{6F587B17-C1A0-313D-BAB0-1C99AB4F106F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2:20.764" v="52" actId="1076"/>
        <pc:sldMkLst>
          <pc:docMk/>
          <pc:sldMk cId="1181112711" sldId="2147375600"/>
        </pc:sldMkLst>
        <pc:picChg chg="del">
          <ac:chgData name="Kumar, Mahendra SBOBNG-PTIV/IB" userId="46236ead-755c-42fd-ab80-d5097f10a71e" providerId="ADAL" clId="{A820A966-2740-4EE8-8810-5777C568673B}" dt="2024-09-19T05:49:54.670" v="43" actId="478"/>
          <ac:picMkLst>
            <pc:docMk/>
            <pc:sldMk cId="1181112711" sldId="2147375600"/>
            <ac:picMk id="2" creationId="{A1657559-0B41-13CE-3653-AD62BC07182D}"/>
          </ac:picMkLst>
        </pc:picChg>
        <pc:picChg chg="add mod">
          <ac:chgData name="Kumar, Mahendra SBOBNG-PTIV/IB" userId="46236ead-755c-42fd-ab80-d5097f10a71e" providerId="ADAL" clId="{A820A966-2740-4EE8-8810-5777C568673B}" dt="2024-09-19T05:52:20.764" v="52" actId="1076"/>
          <ac:picMkLst>
            <pc:docMk/>
            <pc:sldMk cId="1181112711" sldId="2147375600"/>
            <ac:picMk id="3074" creationId="{B16F1304-B6CE-191F-CC2A-09060A8409D5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3:56.969" v="65" actId="1076"/>
        <pc:sldMkLst>
          <pc:docMk/>
          <pc:sldMk cId="3233747587" sldId="2147375601"/>
        </pc:sldMkLst>
        <pc:spChg chg="mod">
          <ac:chgData name="Kumar, Mahendra SBOBNG-PTIV/IB" userId="46236ead-755c-42fd-ab80-d5097f10a71e" providerId="ADAL" clId="{A820A966-2740-4EE8-8810-5777C568673B}" dt="2024-09-19T05:53:51.548" v="64" actId="1076"/>
          <ac:spMkLst>
            <pc:docMk/>
            <pc:sldMk cId="3233747587" sldId="2147375601"/>
            <ac:spMk id="12" creationId="{E53E5C3F-4D2B-B85F-E592-E58E032C664C}"/>
          </ac:spMkLst>
        </pc:spChg>
        <pc:picChg chg="del">
          <ac:chgData name="Kumar, Mahendra SBOBNG-PTIV/IB" userId="46236ead-755c-42fd-ab80-d5097f10a71e" providerId="ADAL" clId="{A820A966-2740-4EE8-8810-5777C568673B}" dt="2024-09-19T05:52:31.383" v="53" actId="478"/>
          <ac:picMkLst>
            <pc:docMk/>
            <pc:sldMk cId="3233747587" sldId="2147375601"/>
            <ac:picMk id="2" creationId="{E283E4F7-835C-3347-FDD4-97F0A3993E48}"/>
          </ac:picMkLst>
        </pc:picChg>
        <pc:picChg chg="add mod">
          <ac:chgData name="Kumar, Mahendra SBOBNG-PTIV/IB" userId="46236ead-755c-42fd-ab80-d5097f10a71e" providerId="ADAL" clId="{A820A966-2740-4EE8-8810-5777C568673B}" dt="2024-09-19T05:53:56.969" v="65" actId="1076"/>
          <ac:picMkLst>
            <pc:docMk/>
            <pc:sldMk cId="3233747587" sldId="2147375601"/>
            <ac:picMk id="4098" creationId="{EB1174CC-CE2A-D297-9AFE-06F92D1D001D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8:14.083" v="95"/>
        <pc:sldMkLst>
          <pc:docMk/>
          <pc:sldMk cId="2340944189" sldId="2147375607"/>
        </pc:sldMkLst>
        <pc:picChg chg="del">
          <ac:chgData name="Kumar, Mahendra SBOBNG-PTIV/IB" userId="46236ead-755c-42fd-ab80-d5097f10a71e" providerId="ADAL" clId="{A820A966-2740-4EE8-8810-5777C568673B}" dt="2024-09-19T05:58:13.627" v="94" actId="478"/>
          <ac:picMkLst>
            <pc:docMk/>
            <pc:sldMk cId="2340944189" sldId="2147375607"/>
            <ac:picMk id="5" creationId="{5D4E7822-6049-FADF-ABEB-4D8B76733C87}"/>
          </ac:picMkLst>
        </pc:picChg>
        <pc:picChg chg="add mod">
          <ac:chgData name="Kumar, Mahendra SBOBNG-PTIV/IB" userId="46236ead-755c-42fd-ab80-d5097f10a71e" providerId="ADAL" clId="{A820A966-2740-4EE8-8810-5777C568673B}" dt="2024-09-19T05:58:14.083" v="95"/>
          <ac:picMkLst>
            <pc:docMk/>
            <pc:sldMk cId="2340944189" sldId="2147375607"/>
            <ac:picMk id="6" creationId="{97834020-34EF-366D-E29C-AE21431B6BD3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8:16.759" v="97"/>
        <pc:sldMkLst>
          <pc:docMk/>
          <pc:sldMk cId="3159148252" sldId="2147375608"/>
        </pc:sldMkLst>
        <pc:picChg chg="add mod">
          <ac:chgData name="Kumar, Mahendra SBOBNG-PTIV/IB" userId="46236ead-755c-42fd-ab80-d5097f10a71e" providerId="ADAL" clId="{A820A966-2740-4EE8-8810-5777C568673B}" dt="2024-09-19T05:58:16.759" v="97"/>
          <ac:picMkLst>
            <pc:docMk/>
            <pc:sldMk cId="3159148252" sldId="2147375608"/>
            <ac:picMk id="5" creationId="{D21EFB65-E843-D561-797B-041663D5AEEB}"/>
          </ac:picMkLst>
        </pc:picChg>
        <pc:picChg chg="del">
          <ac:chgData name="Kumar, Mahendra SBOBNG-PTIV/IB" userId="46236ead-755c-42fd-ab80-d5097f10a71e" providerId="ADAL" clId="{A820A966-2740-4EE8-8810-5777C568673B}" dt="2024-09-19T05:58:16.381" v="96" actId="478"/>
          <ac:picMkLst>
            <pc:docMk/>
            <pc:sldMk cId="3159148252" sldId="2147375608"/>
            <ac:picMk id="9" creationId="{40341BCD-3853-69CD-0245-8CC2D34F53C7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8:19.392" v="99"/>
        <pc:sldMkLst>
          <pc:docMk/>
          <pc:sldMk cId="3070204084" sldId="2147375609"/>
        </pc:sldMkLst>
        <pc:picChg chg="add mod">
          <ac:chgData name="Kumar, Mahendra SBOBNG-PTIV/IB" userId="46236ead-755c-42fd-ab80-d5097f10a71e" providerId="ADAL" clId="{A820A966-2740-4EE8-8810-5777C568673B}" dt="2024-09-19T05:58:19.392" v="99"/>
          <ac:picMkLst>
            <pc:docMk/>
            <pc:sldMk cId="3070204084" sldId="2147375609"/>
            <ac:picMk id="5" creationId="{2811FC5B-124C-DE03-7F75-61032C63C3E0}"/>
          </ac:picMkLst>
        </pc:picChg>
        <pc:picChg chg="del">
          <ac:chgData name="Kumar, Mahendra SBOBNG-PTIV/IB" userId="46236ead-755c-42fd-ab80-d5097f10a71e" providerId="ADAL" clId="{A820A966-2740-4EE8-8810-5777C568673B}" dt="2024-09-19T05:58:19.146" v="98" actId="478"/>
          <ac:picMkLst>
            <pc:docMk/>
            <pc:sldMk cId="3070204084" sldId="2147375609"/>
            <ac:picMk id="9" creationId="{93177C7A-F32D-1F09-AE15-EC5C1C7690E6}"/>
          </ac:picMkLst>
        </pc:picChg>
      </pc:sldChg>
      <pc:sldChg chg="modSp mod">
        <pc:chgData name="Kumar, Mahendra SBOBNG-PTIV/IB" userId="46236ead-755c-42fd-ab80-d5097f10a71e" providerId="ADAL" clId="{A820A966-2740-4EE8-8810-5777C568673B}" dt="2024-09-19T05:59:54.100" v="213" actId="20577"/>
        <pc:sldMkLst>
          <pc:docMk/>
          <pc:sldMk cId="3754613224" sldId="2147375611"/>
        </pc:sldMkLst>
        <pc:spChg chg="mod">
          <ac:chgData name="Kumar, Mahendra SBOBNG-PTIV/IB" userId="46236ead-755c-42fd-ab80-d5097f10a71e" providerId="ADAL" clId="{A820A966-2740-4EE8-8810-5777C568673B}" dt="2024-09-19T05:59:54.100" v="213" actId="20577"/>
          <ac:spMkLst>
            <pc:docMk/>
            <pc:sldMk cId="3754613224" sldId="2147375611"/>
            <ac:spMk id="18" creationId="{6C73795A-BE20-7075-E9C6-6F145CE60794}"/>
          </ac:spMkLst>
        </pc:spChg>
      </pc:sldChg>
      <pc:sldChg chg="addSp modSp mod">
        <pc:chgData name="Kumar, Mahendra SBOBNG-PTIV/IB" userId="46236ead-755c-42fd-ab80-d5097f10a71e" providerId="ADAL" clId="{A820A966-2740-4EE8-8810-5777C568673B}" dt="2024-09-19T06:00:56.781" v="218" actId="113"/>
        <pc:sldMkLst>
          <pc:docMk/>
          <pc:sldMk cId="3865850111" sldId="2147375614"/>
        </pc:sldMkLst>
        <pc:spChg chg="add">
          <ac:chgData name="Kumar, Mahendra SBOBNG-PTIV/IB" userId="46236ead-755c-42fd-ab80-d5097f10a71e" providerId="ADAL" clId="{A820A966-2740-4EE8-8810-5777C568673B}" dt="2024-09-19T06:00:37.196" v="215"/>
          <ac:spMkLst>
            <pc:docMk/>
            <pc:sldMk cId="3865850111" sldId="2147375614"/>
            <ac:spMk id="2" creationId="{9269E396-DA43-E458-4A5C-C9ECA3182C32}"/>
          </ac:spMkLst>
        </pc:spChg>
        <pc:spChg chg="mod">
          <ac:chgData name="Kumar, Mahendra SBOBNG-PTIV/IB" userId="46236ead-755c-42fd-ab80-d5097f10a71e" providerId="ADAL" clId="{A820A966-2740-4EE8-8810-5777C568673B}" dt="2024-09-19T06:00:56.781" v="218" actId="113"/>
          <ac:spMkLst>
            <pc:docMk/>
            <pc:sldMk cId="3865850111" sldId="2147375614"/>
            <ac:spMk id="6" creationId="{AC2F88D2-81D4-FAD4-568E-A3F495B06411}"/>
          </ac:spMkLst>
        </pc:spChg>
      </pc:sldChg>
      <pc:sldChg chg="addSp delSp modSp mod">
        <pc:chgData name="Kumar, Mahendra SBOBNG-PTIV/IB" userId="46236ead-755c-42fd-ab80-d5097f10a71e" providerId="ADAL" clId="{A820A966-2740-4EE8-8810-5777C568673B}" dt="2024-09-19T05:48:46.625" v="42" actId="1076"/>
        <pc:sldMkLst>
          <pc:docMk/>
          <pc:sldMk cId="606223075" sldId="2147375615"/>
        </pc:sldMkLst>
        <pc:spChg chg="mod">
          <ac:chgData name="Kumar, Mahendra SBOBNG-PTIV/IB" userId="46236ead-755c-42fd-ab80-d5097f10a71e" providerId="ADAL" clId="{A820A966-2740-4EE8-8810-5777C568673B}" dt="2024-09-19T05:48:30" v="38" actId="14100"/>
          <ac:spMkLst>
            <pc:docMk/>
            <pc:sldMk cId="606223075" sldId="2147375615"/>
            <ac:spMk id="12" creationId="{E53E5C3F-4D2B-B85F-E592-E58E032C664C}"/>
          </ac:spMkLst>
        </pc:spChg>
        <pc:picChg chg="del">
          <ac:chgData name="Kumar, Mahendra SBOBNG-PTIV/IB" userId="46236ead-755c-42fd-ab80-d5097f10a71e" providerId="ADAL" clId="{A820A966-2740-4EE8-8810-5777C568673B}" dt="2024-09-19T05:46:48.573" v="35" actId="478"/>
          <ac:picMkLst>
            <pc:docMk/>
            <pc:sldMk cId="606223075" sldId="2147375615"/>
            <ac:picMk id="6" creationId="{68B8F251-1740-130B-DDE2-2539E317D206}"/>
          </ac:picMkLst>
        </pc:picChg>
        <pc:picChg chg="add mod">
          <ac:chgData name="Kumar, Mahendra SBOBNG-PTIV/IB" userId="46236ead-755c-42fd-ab80-d5097f10a71e" providerId="ADAL" clId="{A820A966-2740-4EE8-8810-5777C568673B}" dt="2024-09-19T05:48:46.625" v="42" actId="1076"/>
          <ac:picMkLst>
            <pc:docMk/>
            <pc:sldMk cId="606223075" sldId="2147375615"/>
            <ac:picMk id="2050" creationId="{E78060F5-DB10-AAE8-6097-89C3806D1034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6:12.023" v="81" actId="1076"/>
        <pc:sldMkLst>
          <pc:docMk/>
          <pc:sldMk cId="2108903374" sldId="2147375618"/>
        </pc:sldMkLst>
        <pc:picChg chg="del">
          <ac:chgData name="Kumar, Mahendra SBOBNG-PTIV/IB" userId="46236ead-755c-42fd-ab80-d5097f10a71e" providerId="ADAL" clId="{A820A966-2740-4EE8-8810-5777C568673B}" dt="2024-09-19T05:55:20.720" v="75" actId="478"/>
          <ac:picMkLst>
            <pc:docMk/>
            <pc:sldMk cId="2108903374" sldId="2147375618"/>
            <ac:picMk id="5" creationId="{A063544E-E170-A157-E89A-003EF47E332C}"/>
          </ac:picMkLst>
        </pc:picChg>
        <pc:picChg chg="add mod">
          <ac:chgData name="Kumar, Mahendra SBOBNG-PTIV/IB" userId="46236ead-755c-42fd-ab80-d5097f10a71e" providerId="ADAL" clId="{A820A966-2740-4EE8-8810-5777C568673B}" dt="2024-09-19T05:56:12.023" v="81" actId="1076"/>
          <ac:picMkLst>
            <pc:docMk/>
            <pc:sldMk cId="2108903374" sldId="2147375618"/>
            <ac:picMk id="6146" creationId="{1D13A919-4A0C-C291-7815-D56F0ABD1C0C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7:45.143" v="93" actId="1076"/>
        <pc:sldMkLst>
          <pc:docMk/>
          <pc:sldMk cId="4186173281" sldId="2147375619"/>
        </pc:sldMkLst>
        <pc:picChg chg="del">
          <ac:chgData name="Kumar, Mahendra SBOBNG-PTIV/IB" userId="46236ead-755c-42fd-ab80-d5097f10a71e" providerId="ADAL" clId="{A820A966-2740-4EE8-8810-5777C568673B}" dt="2024-09-19T05:56:16.999" v="82" actId="478"/>
          <ac:picMkLst>
            <pc:docMk/>
            <pc:sldMk cId="4186173281" sldId="2147375619"/>
            <ac:picMk id="2" creationId="{7C6BD920-2BDE-652B-1D54-20CE66A8F30C}"/>
          </ac:picMkLst>
        </pc:picChg>
        <pc:picChg chg="add del mod">
          <ac:chgData name="Kumar, Mahendra SBOBNG-PTIV/IB" userId="46236ead-755c-42fd-ab80-d5097f10a71e" providerId="ADAL" clId="{A820A966-2740-4EE8-8810-5777C568673B}" dt="2024-09-19T05:57:13.243" v="85" actId="478"/>
          <ac:picMkLst>
            <pc:docMk/>
            <pc:sldMk cId="4186173281" sldId="2147375619"/>
            <ac:picMk id="7170" creationId="{1F4EC436-2605-7DFD-CAAE-5749F652245F}"/>
          </ac:picMkLst>
        </pc:picChg>
        <pc:picChg chg="add mod">
          <ac:chgData name="Kumar, Mahendra SBOBNG-PTIV/IB" userId="46236ead-755c-42fd-ab80-d5097f10a71e" providerId="ADAL" clId="{A820A966-2740-4EE8-8810-5777C568673B}" dt="2024-09-19T05:57:45.143" v="93" actId="1076"/>
          <ac:picMkLst>
            <pc:docMk/>
            <pc:sldMk cId="4186173281" sldId="2147375619"/>
            <ac:picMk id="7172" creationId="{996A9807-6D81-8A25-D953-FBD081E99CC8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8:22.400" v="101"/>
        <pc:sldMkLst>
          <pc:docMk/>
          <pc:sldMk cId="1398659060" sldId="2147375623"/>
        </pc:sldMkLst>
        <pc:picChg chg="add mod">
          <ac:chgData name="Kumar, Mahendra SBOBNG-PTIV/IB" userId="46236ead-755c-42fd-ab80-d5097f10a71e" providerId="ADAL" clId="{A820A966-2740-4EE8-8810-5777C568673B}" dt="2024-09-19T05:58:22.400" v="101"/>
          <ac:picMkLst>
            <pc:docMk/>
            <pc:sldMk cId="1398659060" sldId="2147375623"/>
            <ac:picMk id="5" creationId="{602B6AEB-AF83-C0C8-B3B1-49CDEA965256}"/>
          </ac:picMkLst>
        </pc:picChg>
        <pc:picChg chg="del">
          <ac:chgData name="Kumar, Mahendra SBOBNG-PTIV/IB" userId="46236ead-755c-42fd-ab80-d5097f10a71e" providerId="ADAL" clId="{A820A966-2740-4EE8-8810-5777C568673B}" dt="2024-09-19T05:58:22.164" v="100" actId="478"/>
          <ac:picMkLst>
            <pc:docMk/>
            <pc:sldMk cId="1398659060" sldId="2147375623"/>
            <ac:picMk id="9" creationId="{4583F09A-6460-510F-8254-6721C3E8DDD8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5:13.644" v="74" actId="1076"/>
        <pc:sldMkLst>
          <pc:docMk/>
          <pc:sldMk cId="1941246458" sldId="2147375627"/>
        </pc:sldMkLst>
        <pc:picChg chg="del">
          <ac:chgData name="Kumar, Mahendra SBOBNG-PTIV/IB" userId="46236ead-755c-42fd-ab80-d5097f10a71e" providerId="ADAL" clId="{A820A966-2740-4EE8-8810-5777C568673B}" dt="2024-09-19T05:54:03.432" v="66" actId="478"/>
          <ac:picMkLst>
            <pc:docMk/>
            <pc:sldMk cId="1941246458" sldId="2147375627"/>
            <ac:picMk id="2" creationId="{19DE8F04-B8F1-22C1-1EB9-62F4AA74E68B}"/>
          </ac:picMkLst>
        </pc:picChg>
        <pc:picChg chg="add mod">
          <ac:chgData name="Kumar, Mahendra SBOBNG-PTIV/IB" userId="46236ead-755c-42fd-ab80-d5097f10a71e" providerId="ADAL" clId="{A820A966-2740-4EE8-8810-5777C568673B}" dt="2024-09-19T05:55:13.644" v="74" actId="1076"/>
          <ac:picMkLst>
            <pc:docMk/>
            <pc:sldMk cId="1941246458" sldId="2147375627"/>
            <ac:picMk id="5122" creationId="{6AC17751-BDF6-F5C8-075D-9691C2ADDAD2}"/>
          </ac:picMkLst>
        </pc:picChg>
      </pc:sldChg>
      <pc:sldChg chg="addSp delSp modSp mod">
        <pc:chgData name="Kumar, Mahendra SBOBNG-PTIV/IB" userId="46236ead-755c-42fd-ab80-d5097f10a71e" providerId="ADAL" clId="{A820A966-2740-4EE8-8810-5777C568673B}" dt="2024-09-19T05:58:26.362" v="103"/>
        <pc:sldMkLst>
          <pc:docMk/>
          <pc:sldMk cId="2763362980" sldId="2147375629"/>
        </pc:sldMkLst>
        <pc:picChg chg="add mod">
          <ac:chgData name="Kumar, Mahendra SBOBNG-PTIV/IB" userId="46236ead-755c-42fd-ab80-d5097f10a71e" providerId="ADAL" clId="{A820A966-2740-4EE8-8810-5777C568673B}" dt="2024-09-19T05:58:26.362" v="103"/>
          <ac:picMkLst>
            <pc:docMk/>
            <pc:sldMk cId="2763362980" sldId="2147375629"/>
            <ac:picMk id="5" creationId="{3AC50711-6122-0611-EF96-E45B1EE1618B}"/>
          </ac:picMkLst>
        </pc:picChg>
        <pc:picChg chg="del">
          <ac:chgData name="Kumar, Mahendra SBOBNG-PTIV/IB" userId="46236ead-755c-42fd-ab80-d5097f10a71e" providerId="ADAL" clId="{A820A966-2740-4EE8-8810-5777C568673B}" dt="2024-09-19T05:58:26.141" v="102" actId="478"/>
          <ac:picMkLst>
            <pc:docMk/>
            <pc:sldMk cId="2763362980" sldId="2147375629"/>
            <ac:picMk id="9" creationId="{4583F09A-6460-510F-8254-6721C3E8DDD8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9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>
                <a:latin typeface="Arial"/>
                <a:cs typeface="Arial"/>
              </a:rPr>
              <a:t>Shell Bootcamp 2024</a:t>
            </a:r>
            <a:br>
              <a:rPr lang="en-US" sz="4000" dirty="0"/>
            </a:br>
            <a:r>
              <a:rPr lang="en-US" sz="4000" dirty="0">
                <a:latin typeface="Arial"/>
                <a:cs typeface="Arial"/>
              </a:rPr>
              <a:t>Reflections for Week 3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ahendra Kuma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18-Sep-2024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5640" y="1860993"/>
            <a:ext cx="5935159" cy="46506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ea typeface="+mn-lt"/>
                <a:cs typeface="+mn-lt"/>
              </a:rPr>
              <a:t>Chef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Configuration management tool for automating infrastructure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ore Concepts: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ecipes: Code that defines how to configure a system. 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okbooks: Collections of recipes and related files. 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hef Server: Central repository for managing configurations.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Nodes: Machines managed by Chef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Features: </a:t>
            </a:r>
            <a:r>
              <a:rPr lang="en-US" sz="2000" dirty="0">
                <a:ea typeface="+mn-lt"/>
                <a:cs typeface="+mn-lt"/>
              </a:rPr>
              <a:t>Automation, Consistency, Scalability, and Complianc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565555" y="1860993"/>
            <a:ext cx="5175653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7172" name="Picture 4" descr="Chef DevOps Tool : A Beginners Guide - QA Automation">
            <a:extLst>
              <a:ext uri="{FF2B5EF4-FFF2-40B4-BE49-F238E27FC236}">
                <a16:creationId xmlns:a16="http://schemas.microsoft.com/office/drawing/2014/main" id="{996A9807-6D81-8A25-D953-FBD081E99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0337" y="2551124"/>
            <a:ext cx="5066088" cy="2695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61732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293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ITIL skills can benefit Shell by: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Operational</a:t>
            </a:r>
            <a:r>
              <a:rPr lang="en-US" sz="2000" dirty="0">
                <a:ea typeface="+mn-lt"/>
                <a:cs typeface="+mn-lt"/>
              </a:rPr>
              <a:t> Efficiency: Standardized Processes and Incident Management.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Service Strategy and Service Design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Change Management Problem Management.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Service Improvement and Performance Metrics. 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pliance and Security: Regulatory Compliance and Security Management.</a:t>
            </a:r>
            <a:endParaRPr lang="en-US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Shell Logo, Shell Symbol, Meaning, History and Evolution">
            <a:extLst>
              <a:ext uri="{FF2B5EF4-FFF2-40B4-BE49-F238E27FC236}">
                <a16:creationId xmlns:a16="http://schemas.microsoft.com/office/drawing/2014/main" id="{6D5413AE-1C02-50B1-EA38-6DB90499CB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ServiceNow Actions skills can benefit Shell by:</a:t>
            </a:r>
            <a:r>
              <a:rPr lang="en-US" sz="2000" dirty="0">
                <a:ea typeface="+mn-lt"/>
                <a:cs typeface="+mn-lt"/>
              </a:rPr>
              <a:t>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Automated Workflows and Incident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Service Catalog and ITBM.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Change Management and Problem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Performance Analytics and Service Improv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pliance and Security: Regulatory Compliance and Security Operations.</a:t>
            </a:r>
            <a:endParaRPr lang="en-US" sz="200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DDDFEBF-7451-AB5A-4B32-9BC79228C328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16" name="Picture 15" descr="Shell Logo, Shell Symbol, Meaning, History and Evolution">
            <a:extLst>
              <a:ext uri="{FF2B5EF4-FFF2-40B4-BE49-F238E27FC236}">
                <a16:creationId xmlns:a16="http://schemas.microsoft.com/office/drawing/2014/main" id="{84021DBB-791A-90F6-7934-845729433F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AWS skills can benefit Shell by: </a:t>
            </a:r>
            <a:endParaRPr lang="en-US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Elastic Compute and Automated Backups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Data Lakes and IoT Service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Disaster Recovery and Security Compliance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Machine Learning and Cost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Global Reach: Global Infrastructure and Edge Computing.</a:t>
            </a:r>
            <a:endParaRPr lang="en-US" sz="200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442387D-EA05-C4A7-888D-AAEE72E48DCA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3972E15D-981C-03E1-8DD0-3FE37B69A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Relevance for Shell</a:t>
            </a:r>
            <a:endParaRPr lang="en-IN" sz="4000" i="1" u="sng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087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Azure skills can benefit Shell by: </a:t>
            </a:r>
            <a:endParaRPr lang="en-US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Virtual Machines and Azure Automation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Azure Synapse and IoT Hub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Backup and Site Recovery and Security Center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AI and Machine Learning and Cost Management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Global Reach: Global Data Centers and Edge Computing.</a:t>
            </a:r>
            <a:endParaRPr lang="en-US" sz="200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CF12F9C-2858-76CB-6E83-E571F7F89CE2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2899C533-B34E-8D55-A13B-446FD2569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481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5087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Docker skills can benefit Shell by: </a:t>
            </a:r>
            <a:endParaRPr lang="en-US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Operational Efficiency: Containerization and Resource Efficiency.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Business Alignment: Microservices and CI/CD Pipelines.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isk Management: Isolation and Rollback.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ous Improvement: Scalability and Automation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Flexibility: Multi-Cloud Support and Portability.</a:t>
            </a:r>
            <a:endParaRPr lang="en-US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CF12F9C-2858-76CB-6E83-E571F7F89CE2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2899C533-B34E-8D55-A13B-446FD2569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2570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hallenge faced while implementing</a:t>
            </a:r>
            <a:r>
              <a:rPr lang="en-US" sz="2000" b="1" dirty="0"/>
              <a:t>: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Understanding complex terminologies and framework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Aligning ITIL processes with </a:t>
            </a:r>
            <a:r>
              <a:rPr lang="en-US" sz="2000" dirty="0">
                <a:ea typeface="+mn-lt"/>
                <a:cs typeface="+mn-lt"/>
              </a:rPr>
              <a:t>existing business practice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Resistance to change </a:t>
            </a:r>
            <a:r>
              <a:rPr lang="en-US" sz="2000" dirty="0">
                <a:ea typeface="+mn-lt"/>
                <a:cs typeface="+mn-lt"/>
              </a:rPr>
              <a:t>from staff. High initial implementation cos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Continuous training and certification requiremen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easuring the ROI of ITIL implementation.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ngled view of a part of a maze">
            <a:extLst>
              <a:ext uri="{FF2B5EF4-FFF2-40B4-BE49-F238E27FC236}">
                <a16:creationId xmlns:a16="http://schemas.microsoft.com/office/drawing/2014/main" id="{97834020-34EF-366D-E29C-AE21431B6BD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Customizing the platform to fit specific business need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Integrating ServiceNow with existing system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Managing data migration to the new </a:t>
            </a:r>
            <a:r>
              <a:rPr lang="en-US" sz="2000" dirty="0">
                <a:ea typeface="+mn-lt"/>
                <a:cs typeface="+mn-lt"/>
              </a:rPr>
              <a:t>platform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Ensuring user adoption and training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Handling performance issues with large-scale </a:t>
            </a:r>
            <a:r>
              <a:rPr lang="en-US" sz="2000" dirty="0">
                <a:ea typeface="+mn-lt"/>
                <a:cs typeface="+mn-lt"/>
              </a:rPr>
              <a:t>deploymen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Keeping up with frequent updates and new features.</a:t>
            </a:r>
            <a:endParaRPr lang="en-US" sz="200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D3FBE54-70D0-8137-3A2A-D65AA6A7F5F7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Angled view of a part of a maze">
            <a:extLst>
              <a:ext uri="{FF2B5EF4-FFF2-40B4-BE49-F238E27FC236}">
                <a16:creationId xmlns:a16="http://schemas.microsoft.com/office/drawing/2014/main" id="{D21EFB65-E843-D561-797B-041663D5AEE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Dedication for improvement is what makes you perfect.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2" descr="45,700+ Rock Cycle Stock Photos, Pictures &amp; Royalty-Free Images - iStock">
            <a:extLst>
              <a:ext uri="{FF2B5EF4-FFF2-40B4-BE49-F238E27FC236}">
                <a16:creationId xmlns:a16="http://schemas.microsoft.com/office/drawing/2014/main" id="{7FF958D2-56A4-2F63-1629-0423ADE50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650" y="1831738"/>
            <a:ext cx="5349005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Navigating the vast array of services and feature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anaging costs and avoiding unexpected charge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Ensuring data security and compliance. Migrating existing applications to the cloud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Handling scalability and performance optimization. </a:t>
            </a:r>
            <a:endParaRPr lang="en-US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Understanding and implementing best practices for architecture.</a:t>
            </a:r>
            <a:endParaRPr lang="en-US" sz="2000" dirty="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3D0F3F6-E65C-1DCB-BBC6-7B3BC537D984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Angled view of a part of a maze">
            <a:extLst>
              <a:ext uri="{FF2B5EF4-FFF2-40B4-BE49-F238E27FC236}">
                <a16:creationId xmlns:a16="http://schemas.microsoft.com/office/drawing/2014/main" id="{2811FC5B-124C-DE03-7F75-61032C63C3E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Integrating Azure services with on-premises system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anaging and optimizing cloud costs. 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Ensuring data security and regulatory compliance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igrating legacy applications to Azure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Handling scalability and performance issue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Keeping up with frequent updates and new services.</a:t>
            </a:r>
            <a:endParaRPr lang="en-US" sz="2000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23171E4-2360-CACB-4443-D3507A530973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Angled view of a part of a maze">
            <a:extLst>
              <a:ext uri="{FF2B5EF4-FFF2-40B4-BE49-F238E27FC236}">
                <a16:creationId xmlns:a16="http://schemas.microsoft.com/office/drawing/2014/main" id="{602B6AEB-AF83-C0C8-B3B1-49CDEA96525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6590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5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Learning containerization concepts and Docker commands. 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Managing container orchestration with tools like Kubernetes.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Ensuring security and </a:t>
            </a:r>
            <a:r>
              <a:rPr lang="en-US" sz="2000" dirty="0">
                <a:ea typeface="+mn-lt"/>
                <a:cs typeface="+mn-lt"/>
              </a:rPr>
              <a:t>isolation of container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Handling persistent storage for containers. 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>
                <a:ea typeface="+mn-lt"/>
                <a:cs typeface="+mn-lt"/>
              </a:rPr>
              <a:t>Debugging and troubleshooting containerized </a:t>
            </a:r>
            <a:r>
              <a:rPr lang="en-US" sz="2000" dirty="0">
                <a:ea typeface="+mn-lt"/>
                <a:cs typeface="+mn-lt"/>
              </a:rPr>
              <a:t>applications. 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Optimizing container performance and resource usage.</a:t>
            </a:r>
            <a:endParaRPr lang="en-US">
              <a:cs typeface="Arial"/>
            </a:endParaRP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23171E4-2360-CACB-4443-D3507A530973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Angled view of a part of a maze">
            <a:extLst>
              <a:ext uri="{FF2B5EF4-FFF2-40B4-BE49-F238E27FC236}">
                <a16:creationId xmlns:a16="http://schemas.microsoft.com/office/drawing/2014/main" id="{3AC50711-6122-0611-EF96-E45B1EE1618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629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4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Joining my Team and getting into business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Learning more about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devops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 and data pipelining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Making more friends and collaborate with new people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Week</a:t>
            </a:r>
            <a:endParaRPr lang="en-US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6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My learning was fun this week because of following reasons:</a:t>
            </a:r>
          </a:p>
          <a:p>
            <a:pPr marL="0" indent="0">
              <a:buNone/>
            </a:pP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eamwork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Fighting with problem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In class presentation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Assessment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Game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Networking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Picture 4" descr="Image result for fun learning">
            <a:extLst>
              <a:ext uri="{FF2B5EF4-FFF2-40B4-BE49-F238E27FC236}">
                <a16:creationId xmlns:a16="http://schemas.microsoft.com/office/drawing/2014/main" id="{11FE6608-445E-509B-29B4-F79C7D5306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7839" y="1968071"/>
            <a:ext cx="5327564" cy="4075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7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/>
              <a:t>Quick summary</a:t>
            </a:r>
            <a:endParaRPr lang="en-US" b="1" dirty="0"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GB" sz="2000" dirty="0">
                <a:cs typeface="Arial"/>
              </a:rPr>
              <a:t>This week, I faced several challenges across various technologies. With ITIL, I struggled to understand complex terminologies and align processes with business practices. ServiceNow presented difficulties in customization, integration, and user adoption. AWS required navigating a vast array of services, managing costs, and ensuring data security. Azure posed challenges in integrating with on-premises systems, managing cloud costs, and ensuring compliance. Docker involved learning containerization concepts, managing orchestration, and ensuring security. Despite these challenges, I gained valuable insights into improving service delivery, streamlining workflows, optimizing costs, and enhancing scalability and security across these platforms.</a:t>
            </a:r>
            <a:endParaRPr lang="en-US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3917" y="1860993"/>
            <a:ext cx="5642083" cy="4533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cs typeface="Arial"/>
              </a:rPr>
              <a:t>ITIL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IL is a set of practices for IT service management (ITSM) that focuses on aligning IT services with the needs of the business. Purpose: Improve efficiency, achieve predictable service levels, and enhance customer satisfaction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ITIL Framework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Strategy</a:t>
            </a: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Design</a:t>
            </a:r>
            <a:endParaRPr lang="en-US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Transition</a:t>
            </a:r>
            <a:endParaRPr lang="en-US" dirty="0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Operation</a:t>
            </a:r>
            <a:endParaRPr lang="en-US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inual Service Improvement</a:t>
            </a:r>
            <a:endParaRPr lang="en-US" dirty="0"/>
          </a:p>
          <a:p>
            <a:pPr>
              <a:buFont typeface="Wingdings" panose="020B0604020202020204" pitchFamily="34" charset="0"/>
              <a:buChar char="Ø"/>
            </a:pP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27260" cy="4533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What is ITIL? - Milldesk">
            <a:extLst>
              <a:ext uri="{FF2B5EF4-FFF2-40B4-BE49-F238E27FC236}">
                <a16:creationId xmlns:a16="http://schemas.microsoft.com/office/drawing/2014/main" id="{6F587B17-C1A0-313D-BAB0-1C99AB4F1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894" y="1860992"/>
            <a:ext cx="4518305" cy="4518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3917" y="1860993"/>
            <a:ext cx="5642083" cy="4404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Key Concepts and Terminology</a:t>
            </a:r>
            <a:endParaRPr lang="en-US" b="1" dirty="0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rvice Lifecycle: The stages through which IT services pass, from conception to retirement. </a:t>
            </a:r>
            <a:endParaRPr lang="en-US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Processes: Structured sets of activities designed to achieve specific objectives. </a:t>
            </a:r>
            <a:endParaRPr lang="en-US" dirty="0">
              <a:ea typeface="+mn-lt"/>
              <a:cs typeface="+mn-lt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Roles: Defined responsibilities within ITIL processes.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Concepts and Terminology</a:t>
            </a:r>
            <a:endParaRPr lang="en-US" sz="2000" dirty="0">
              <a:cs typeface="Arial"/>
            </a:endParaRPr>
          </a:p>
          <a:p>
            <a:pPr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Improved Service</a:t>
            </a:r>
          </a:p>
          <a:p>
            <a:pPr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Delivery Cost Efficiency </a:t>
            </a:r>
            <a:endParaRPr lang="en-US" dirty="0">
              <a:ea typeface="+mn-lt"/>
              <a:cs typeface="+mn-lt"/>
            </a:endParaRPr>
          </a:p>
          <a:p>
            <a:pPr>
              <a:buFont typeface="Wingdings,Sans-Serif"/>
              <a:buChar char="Ø"/>
            </a:pPr>
            <a:r>
              <a:rPr lang="en-US" sz="2000" dirty="0">
                <a:ea typeface="+mn-lt"/>
                <a:cs typeface="+mn-lt"/>
              </a:rPr>
              <a:t>Customer Satisfaction Risk Management</a:t>
            </a:r>
            <a:endParaRPr lang="en-US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27260" cy="4404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050" name="Picture 2" descr="What does ITIL | IGuide to IT Infrastructure Library">
            <a:extLst>
              <a:ext uri="{FF2B5EF4-FFF2-40B4-BE49-F238E27FC236}">
                <a16:creationId xmlns:a16="http://schemas.microsoft.com/office/drawing/2014/main" id="{E78060F5-DB10-AAE8-6097-89C3806D10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0747" y="1949068"/>
            <a:ext cx="3627364" cy="4228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6223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84809" y="1465736"/>
            <a:ext cx="5634638" cy="493630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/>
              <a:t>ServiceNow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solidFill>
                  <a:srgbClr val="000000"/>
                </a:solidFill>
                <a:ea typeface="+mn-lt"/>
                <a:cs typeface="+mn-lt"/>
              </a:rPr>
              <a:t>Cloud-based platform for IT service management and business process automation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solidFill>
                  <a:srgbClr val="000000"/>
                </a:solidFill>
                <a:ea typeface="+mn-lt"/>
                <a:cs typeface="+mn-lt"/>
              </a:rPr>
              <a:t>Core Components: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SM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OM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TBM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ecOps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SM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Key Concepts:</a:t>
            </a:r>
            <a:endParaRPr lang="en-US">
              <a:cs typeface="Arial"/>
            </a:endParaRPr>
          </a:p>
          <a:p>
            <a:pPr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ncident Management, Change Management, Service Catalog, and Workflows.</a:t>
            </a:r>
            <a:endParaRPr lang="en-US" sz="2000" b="1" dirty="0">
              <a:ea typeface="+mn-lt"/>
              <a:cs typeface="+mn-lt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582967"/>
            <a:ext cx="5340409" cy="48073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3074" name="Picture 2" descr="ServiceNow Reviews - Pros &amp; Cons, Ratings &amp; more | GetApp">
            <a:extLst>
              <a:ext uri="{FF2B5EF4-FFF2-40B4-BE49-F238E27FC236}">
                <a16:creationId xmlns:a16="http://schemas.microsoft.com/office/drawing/2014/main" id="{B16F1304-B6CE-191F-CC2A-09060A8409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1461" y="2316480"/>
            <a:ext cx="4886226" cy="3073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2788" y="1860993"/>
            <a:ext cx="5633212" cy="45293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cs typeface="Arial"/>
              </a:rPr>
              <a:t>AWS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Leading cloud services platform offering a wide range of services.</a:t>
            </a:r>
            <a:endParaRPr lang="en-US" dirty="0"/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Core Service</a:t>
            </a:r>
            <a:endParaRPr lang="en-US" dirty="0"/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Comput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Storag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Databas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Networking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concepts of AWS</a:t>
            </a:r>
            <a:endParaRPr lang="en-US" dirty="0"/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Scalability, Security, Cost Management, and Global Reach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15241" y="2008149"/>
            <a:ext cx="5350706" cy="42350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4098" name="Picture 2" descr="Commonly Used AWS Services. AWS is a cloud service provider which… | by ...">
            <a:extLst>
              <a:ext uri="{FF2B5EF4-FFF2-40B4-BE49-F238E27FC236}">
                <a16:creationId xmlns:a16="http://schemas.microsoft.com/office/drawing/2014/main" id="{EB1174CC-CE2A-D297-9AFE-06F92D1D00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742" y="2787043"/>
            <a:ext cx="5115703" cy="267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62788" y="1860993"/>
            <a:ext cx="5633212" cy="45293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>
                <a:cs typeface="Arial"/>
              </a:rPr>
              <a:t>AZURE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Microsoft’s cloud computing platform offering a wide range of services.</a:t>
            </a: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Core Service</a:t>
            </a:r>
            <a:endParaRPr lang="en-US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mpute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torage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Database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Networking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concepts of AWS</a:t>
            </a:r>
            <a:endParaRPr lang="en-US" dirty="0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Scalability, Security, Cost Management, and Global Reach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122" name="Picture 2" descr="Beginner's Guide to Microsoft Azure Everything You Need to Know">
            <a:extLst>
              <a:ext uri="{FF2B5EF4-FFF2-40B4-BE49-F238E27FC236}">
                <a16:creationId xmlns:a16="http://schemas.microsoft.com/office/drawing/2014/main" id="{6AC17751-BDF6-F5C8-075D-9691C2ADDA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9" y="2620767"/>
            <a:ext cx="5350706" cy="3009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1246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 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52491" y="1860993"/>
            <a:ext cx="5643509" cy="44057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/>
              <a:t>Docker</a:t>
            </a:r>
            <a:endParaRPr lang="en-US">
              <a:cs typeface="Arial"/>
            </a:endParaRP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Platform for developing, shipping, and running applications in containers.</a:t>
            </a:r>
            <a:endParaRPr lang="en-US" dirty="0"/>
          </a:p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ore Concepts:</a:t>
            </a:r>
            <a:endParaRPr lang="en-US" b="1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Containers</a:t>
            </a:r>
            <a:endParaRPr lang="en-US" sz="2000" b="1" dirty="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Images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Docekrfil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err="1">
                <a:ea typeface="+mn-lt"/>
                <a:cs typeface="+mn-lt"/>
              </a:rPr>
              <a:t>Dockerhub</a:t>
            </a:r>
            <a:endParaRPr lang="en-US" sz="2000">
              <a:ea typeface="+mn-lt"/>
              <a:cs typeface="+mn-lt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 err="1">
                <a:cs typeface="Arial"/>
              </a:rPr>
              <a:t>Dockercompose</a:t>
            </a:r>
          </a:p>
          <a:p>
            <a:pPr marL="0" indent="0">
              <a:buNone/>
            </a:pPr>
            <a:r>
              <a:rPr lang="en-US" sz="2000" b="1" dirty="0">
                <a:cs typeface="Arial"/>
              </a:rPr>
              <a:t>Key  Features:</a:t>
            </a:r>
            <a:r>
              <a:rPr lang="en-US" sz="2000" b="1" dirty="0">
                <a:ea typeface="+mn-lt"/>
                <a:cs typeface="+mn-lt"/>
              </a:rPr>
              <a:t> </a:t>
            </a:r>
            <a:r>
              <a:rPr lang="en-US" sz="2000" dirty="0">
                <a:ea typeface="+mn-lt"/>
                <a:cs typeface="+mn-lt"/>
              </a:rPr>
              <a:t>Portability, Efficiency, Scalability, and Isolation 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146" name="Picture 2" descr="Docker Logo, symbol, meaning, history, PNG, brand">
            <a:extLst>
              <a:ext uri="{FF2B5EF4-FFF2-40B4-BE49-F238E27FC236}">
                <a16:creationId xmlns:a16="http://schemas.microsoft.com/office/drawing/2014/main" id="{1D13A919-4A0C-C291-7815-D56F0ABD1C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1112" y="2587285"/>
            <a:ext cx="5250080" cy="2953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8903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04</TotalTime>
  <Words>1133</Words>
  <Application>Microsoft Office PowerPoint</Application>
  <PresentationFormat>Widescreen</PresentationFormat>
  <Paragraphs>194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Wingdings,Sans-Serif</vt:lpstr>
      <vt:lpstr>Arial</vt:lpstr>
      <vt:lpstr>Calibri</vt:lpstr>
      <vt:lpstr>Wingdings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1 | My takeaways</vt:lpstr>
      <vt:lpstr>Learning 2 | My takeaways</vt:lpstr>
      <vt:lpstr>Learning 3 | My takeaways</vt:lpstr>
      <vt:lpstr>Learning 3 | My takeaways</vt:lpstr>
      <vt:lpstr>Learning 4 | My takeaways</vt:lpstr>
      <vt:lpstr>Learning 5 | My takeaways</vt:lpstr>
      <vt:lpstr>PowerPoint Presentation</vt:lpstr>
      <vt:lpstr>Learning 1 | Relevance for Shell</vt:lpstr>
      <vt:lpstr>Learning 2 | Relevance for Shell</vt:lpstr>
      <vt:lpstr>Learning 3 | Relevance for Shell</vt:lpstr>
      <vt:lpstr>Learning 4 | Relevance for Shell</vt:lpstr>
      <vt:lpstr>Learning 5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Challenge faced while implementing Learning 5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Kumar, Mahendra SBOBNG-PTIV/IB</cp:lastModifiedBy>
  <cp:revision>1724</cp:revision>
  <dcterms:created xsi:type="dcterms:W3CDTF">2022-01-18T12:35:56Z</dcterms:created>
  <dcterms:modified xsi:type="dcterms:W3CDTF">2024-09-19T06:0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